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65" r:id="rId2"/>
  </p:sldMasterIdLst>
  <p:notesMasterIdLst>
    <p:notesMasterId r:id="rId7"/>
  </p:notesMasterIdLst>
  <p:handoutMasterIdLst>
    <p:handoutMasterId r:id="rId8"/>
  </p:handoutMasterIdLst>
  <p:sldIdLst>
    <p:sldId id="344" r:id="rId3"/>
    <p:sldId id="347" r:id="rId4"/>
    <p:sldId id="348" r:id="rId5"/>
    <p:sldId id="349" r:id="rId6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 varScale="1">
        <p:scale>
          <a:sx n="94" d="100"/>
          <a:sy n="94" d="100"/>
        </p:scale>
        <p:origin x="1632" y="90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02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02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1539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52588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27942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4918037" y="1044326"/>
            <a:ext cx="2618024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User Stories 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0EE8B1A-C18E-45E3-BE44-05D9C60F46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9143" y="2124447"/>
            <a:ext cx="8324663" cy="406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967777" y="1044587"/>
            <a:ext cx="7587563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User Storie 1 – Persona: desenvolvedora 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773844" y="2116264"/>
            <a:ext cx="7830310" cy="4512884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4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Juliana, enquanto jovem de 21 anos aluna de universidade pública, sou antenado com as novas tecnologias e quero atuar na área de mineração de criptomoedas para obter lucro financeiramente 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599090D9-F30F-4698-BA87-5073FEFA0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7891" y="3204567"/>
            <a:ext cx="1966439" cy="189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565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967778" y="1044587"/>
            <a:ext cx="7344816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User Storie 2 – Persona: Investido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EF14859-1679-4894-9417-323A7CFE2383}"/>
              </a:ext>
            </a:extLst>
          </p:cNvPr>
          <p:cNvSpPr/>
          <p:nvPr/>
        </p:nvSpPr>
        <p:spPr>
          <a:xfrm>
            <a:off x="3707796" y="2270610"/>
            <a:ext cx="8718429" cy="465225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Julio Cesar, enquanto adulto de 45 anos, era da área financeira, passei por uma transição de carreira e hoje movimento o ecossistema de Criptomoedas, pois, acredito em oportunidades para empreendedores nesta área  </a:t>
            </a:r>
          </a:p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7035E7C-1440-4B8F-979E-52A9BDF6DA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896" y="3402383"/>
            <a:ext cx="1771139" cy="1793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750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.mineHash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2313359" y="1154786"/>
            <a:ext cx="8718428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User Storie 3 – Persona: Perfil conservador 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5F570210-B48B-4D49-A129-FC71DA8F8989}"/>
              </a:ext>
            </a:extLst>
          </p:cNvPr>
          <p:cNvSpPr txBox="1"/>
          <p:nvPr/>
        </p:nvSpPr>
        <p:spPr>
          <a:xfrm>
            <a:off x="989896" y="4397561"/>
            <a:ext cx="1847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  <a:p>
            <a:endParaRPr lang="pt-BR" sz="2000" b="1" dirty="0"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3C28B43A-0C15-4A76-92CF-26DFD420012C}"/>
              </a:ext>
            </a:extLst>
          </p:cNvPr>
          <p:cNvSpPr/>
          <p:nvPr/>
        </p:nvSpPr>
        <p:spPr>
          <a:xfrm>
            <a:off x="4406981" y="1873517"/>
            <a:ext cx="8352927" cy="508801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500" dirty="0">
                <a:solidFill>
                  <a:srgbClr val="0000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u, Renato,30 anos, quero dizer que sou cético quanto a este mercado, quase ninguém minera criptomoedas "tradicionais" que nem a Bitcoin hoje em dia. Porque o retorno de minerar algumas delas já é menor que o custo da energia elétrica para deixar o seu PC fazendo isso, em muitos lugares do mundo </a:t>
            </a:r>
          </a:p>
          <a:p>
            <a:pPr algn="ctr"/>
            <a:endParaRPr lang="pt-BR" sz="154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3B17CE3-7A5B-42B6-88BE-623E2567A2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0875" y="3506264"/>
            <a:ext cx="2069266" cy="204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59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0</TotalTime>
  <Words>173</Words>
  <Application>Microsoft Office PowerPoint</Application>
  <PresentationFormat>Personalizar</PresentationFormat>
  <Paragraphs>19</Paragraphs>
  <Slides>4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3" baseType="lpstr">
      <vt:lpstr>Arial</vt:lpstr>
      <vt:lpstr>Calibri</vt:lpstr>
      <vt:lpstr>Exo 2</vt:lpstr>
      <vt:lpstr>MV Boli</vt:lpstr>
      <vt:lpstr>Simplon BP Medium</vt:lpstr>
      <vt:lpstr>Simplon BP Regular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Fabíola Canedo Yugar</cp:lastModifiedBy>
  <cp:revision>198</cp:revision>
  <dcterms:created xsi:type="dcterms:W3CDTF">2016-12-01T16:19:35Z</dcterms:created>
  <dcterms:modified xsi:type="dcterms:W3CDTF">2019-09-02T13:28:12Z</dcterms:modified>
</cp:coreProperties>
</file>